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49" r:id="rId4"/>
    <p:sldMasterId id="2147483723" r:id="rId5"/>
    <p:sldMasterId id="2147483736" r:id="rId6"/>
    <p:sldMasterId id="2147483673" r:id="rId7"/>
    <p:sldMasterId id="2147483751" r:id="rId8"/>
    <p:sldMasterId id="2147483685" r:id="rId9"/>
    <p:sldMasterId id="2147483710" r:id="rId10"/>
    <p:sldMasterId id="2147483764" r:id="rId11"/>
  </p:sldMasterIdLst>
  <p:notesMasterIdLst>
    <p:notesMasterId r:id="rId13"/>
  </p:notesMasterIdLst>
  <p:handoutMasterIdLst>
    <p:handoutMasterId r:id="rId14"/>
  </p:handoutMasterIdLst>
  <p:sldIdLst>
    <p:sldId id="2134805558" r:id="rId12"/>
  </p:sldIdLst>
  <p:sldSz cx="12192000" cy="6858000"/>
  <p:notesSz cx="6858000" cy="9144000"/>
  <p:embeddedFontLst>
    <p:embeddedFont>
      <p:font typeface="Cronos Pro" panose="020C0502030403020304" charset="0"/>
      <p:regular r:id="rId15"/>
      <p:bold r:id="rId16"/>
      <p:italic r:id="rId17"/>
      <p:boldItalic r:id="rId18"/>
    </p:embeddedFont>
    <p:embeddedFont>
      <p:font typeface="Helvetica Light" panose="020B0604020202020204" charset="0"/>
      <p:regular r:id="rId19"/>
      <p:italic r:id="rId2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8ED1EB7F-F7B7-4AEA-9E5F-FD886BA7A53B}">
          <p14:sldIdLst/>
        </p14:section>
        <p14:section name="Ejemplo" id="{509D0391-4B24-42C4-9DC5-7110CB6FE9B0}">
          <p14:sldIdLst>
            <p14:sldId id="21348055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81DB72-86CC-12BD-46E5-C3DEFF1C8128}" name="Luis Santiago Portillo Torres" initials="LT" userId="S::lportillo@tigo.com.gt::882c2c0f-2df8-4613-b693-dea2b18b833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77B"/>
    <a:srgbClr val="294480"/>
    <a:srgbClr val="0023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8" autoAdjust="0"/>
    <p:restoredTop sz="94660"/>
  </p:normalViewPr>
  <p:slideViewPr>
    <p:cSldViewPr snapToGrid="0">
      <p:cViewPr>
        <p:scale>
          <a:sx n="94" d="100"/>
          <a:sy n="94" d="100"/>
        </p:scale>
        <p:origin x="715" y="-6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font" Target="fonts/font3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58CE3E-1D5F-AF45-A2E0-348CB777DF9E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D5ADD8-7B31-7942-869A-EDB1CB9C67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8559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61EF51-2F5F-1A47-B093-A52FDBA9BD5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80CBA-DE49-4541-83F6-C52186A56AF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174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5DF5F3-F94B-47DD-8934-06A8FA82E09C}" type="slidenum">
              <a:rPr lang="es-CO" smtClean="0"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98551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7/04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114144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17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678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2558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346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3175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284EE91D-7844-41F8-A399-0E86DCD33A2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1080000"/>
          </a:xfrm>
          <a:prstGeom prst="rect">
            <a:avLst/>
          </a:prstGeom>
          <a:solidFill>
            <a:srgbClr val="000640"/>
          </a:solidFill>
          <a:ln w="12700" cap="flat">
            <a:noFill/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321595" y="400057"/>
            <a:ext cx="10400610" cy="461077"/>
          </a:xfrm>
          <a:prstGeom prst="rect">
            <a:avLst/>
          </a:prstGeom>
        </p:spPr>
        <p:txBody>
          <a:bodyPr lIns="0"/>
          <a:lstStyle>
            <a:lvl1pPr marL="0" indent="0">
              <a:buFont typeface="+mj-lt"/>
              <a:buNone/>
              <a:defRPr sz="36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80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itle of slid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1091004"/>
            <a:ext cx="12192000" cy="0"/>
          </a:xfrm>
          <a:prstGeom prst="line">
            <a:avLst/>
          </a:prstGeom>
          <a:ln w="57150">
            <a:solidFill>
              <a:srgbClr val="5AC4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">
            <a:extLst>
              <a:ext uri="{FF2B5EF4-FFF2-40B4-BE49-F238E27FC236}">
                <a16:creationId xmlns:a16="http://schemas.microsoft.com/office/drawing/2014/main" id="{CFD5DD47-BAC6-4A14-AF9E-03C54DC54940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852293" y="6534349"/>
            <a:ext cx="339707" cy="315982"/>
          </a:xfrm>
          <a:prstGeom prst="rect">
            <a:avLst/>
          </a:prstGeom>
          <a:ln w="3175">
            <a:miter lim="400000"/>
          </a:ln>
        </p:spPr>
        <p:txBody>
          <a:bodyPr wrap="none" lIns="65023" tIns="65023" rIns="65023" bIns="65023" anchor="ctr">
            <a:spAutoFit/>
          </a:bodyPr>
          <a:lstStyle>
            <a:lvl1pPr algn="r" defTabSz="1300480">
              <a:defRPr sz="1200" b="1">
                <a:solidFill>
                  <a:srgbClr val="002060"/>
                </a:solidFill>
                <a:latin typeface="+mj-lt"/>
                <a:ea typeface="Calibri"/>
                <a:cs typeface="Calibri"/>
                <a:sym typeface="Calibri"/>
              </a:defRPr>
            </a:lvl1pPr>
          </a:lstStyle>
          <a:p>
            <a:fld id="{7E883C2E-9546-4EC5-B1AC-966D0C177DA5}" type="slidenum">
              <a:rPr lang="es-CO" smtClean="0"/>
              <a:t>‹Nº›</a:t>
            </a:fld>
            <a:endParaRPr lang="es-CO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70B89496-B5C9-46BF-B6A5-878BFD7C67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605" y="-114389"/>
            <a:ext cx="1461437" cy="122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729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47602-B7C3-A449-9A41-E99DF9CB93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5C7B0C-BBA9-7A43-B23D-32117C1768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5706EC-5899-F341-9BC1-744758C60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836E2-E0B2-544B-86D7-5A33BC02F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C77FA-C511-1345-86AA-245E38E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214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E8C25-8CE4-4443-9704-7900652CF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BEB4C-8996-3F40-8379-0857FD480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4B405-E6EF-494D-B089-FCC9B5E3E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78F0-46F0-A647-9027-CB5DAD154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0802FD-B3D8-5D44-A3EE-E3BCF617F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71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9B800-3B5D-854E-8774-63962E42F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85BA7-9F0E-7040-A981-0488B601A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D855C-6155-6C45-BFE1-239424CF5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2A3C1-C0EC-AF4F-9DB2-EF1C24F5E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D5C5B-A2AF-334A-B361-D93F7E224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57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D145B-6397-3E42-A97C-D12FE6CFD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1DAC7-0568-1F44-B775-31DC5471CE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3606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52C8FD-C718-7942-B58B-AEA90A888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A780F-2EE3-7F41-A580-1B21E4668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FDEDB-C0D2-DF40-BC03-D5F5F29D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42628-8687-CA40-8622-E0179FBA4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409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7/04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B03B6E-58E5-2142-ACC2-6647612A9F3C}"/>
              </a:ext>
            </a:extLst>
          </p:cNvPr>
          <p:cNvSpPr/>
          <p:nvPr userDrawn="1"/>
        </p:nvSpPr>
        <p:spPr>
          <a:xfrm>
            <a:off x="7420396" y="2023009"/>
            <a:ext cx="3609048" cy="2864580"/>
          </a:xfrm>
          <a:prstGeom prst="rect">
            <a:avLst/>
          </a:prstGeom>
          <a:solidFill>
            <a:srgbClr val="07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4C6364-2BD2-2E44-A1A6-84354B6A1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371" t="13707" r="23988" b="13894"/>
          <a:stretch/>
        </p:blipFill>
        <p:spPr>
          <a:xfrm>
            <a:off x="7322124" y="1780985"/>
            <a:ext cx="3545480" cy="3840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623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2CFB8-5A5A-4D46-B158-E8106278D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67053-461C-894F-8862-7497B211B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69EF-4E38-3442-99D1-437C134D7E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30B40C-B6A5-5744-850D-8F16814FE6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486474-AD84-474A-A666-2579CA92C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77128F-DC63-CA41-91DA-F3A04A0EF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1A46EB-AA52-CF42-B90A-2C2230DCA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034ED8-8BD2-A74B-B3A5-5B945B4B8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455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FCCE9-DDC7-5546-94EE-689E70BCD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7F3D4-5C10-704C-A5B0-43CBA6923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3AA2A-F5D4-DC44-BE56-8CDAB3E05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04CF4C-39FA-D541-A11D-78C901DD5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355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718919-E6FD-C346-88FE-426911563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2E558B-D914-8A49-A439-5C88FBC4B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34061-4D80-0440-825A-D0D12843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18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2B8C0-74D7-B548-9E5D-63ECAC563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C437FB-C79E-9744-8617-FC41B3490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B5F36-5889-B245-8431-2CE4A484F6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90618-A5E2-0042-BF37-08AEBC220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37C5B3-6901-844C-A07F-D1EE921FE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389E7-28BD-5C49-9AE7-89043C57D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3823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E03B1-DD27-0C47-B1E2-51BA6848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50CD87-6460-E144-9C66-A61E0EA85C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B3C08-63CB-1B4B-9A2F-3EF95563F3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6E5D6-F1BE-BF4E-8788-629107511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3AB5CA-49BE-914E-9D94-5FCB3C60E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230F82-3D82-534C-9968-23A7F39AB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3500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A45F9-CF74-184A-8730-4F4DA59C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652032-7BC8-ED4D-AFC3-86D7EA9601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053BD-0C9B-0645-B51D-8759547C4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C186D1-4A1C-3E43-BF92-74B10B9B1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2E138-04E8-894B-8CC2-C58AADA83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878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E2C2D7-581D-8B44-8A2B-5BB1446D5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B15308-91C2-BB4C-B87E-CA39B20A2C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3CE85-40D2-984B-92B5-254C168A4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7AEDE-84BC-6444-9972-2664C0B5D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852E4-EA37-4A4D-87BF-03FBF5DFD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172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4840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7373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024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2658788"/>
            <a:ext cx="5467643" cy="766766"/>
          </a:xfrm>
        </p:spPr>
        <p:txBody>
          <a:bodyPr anchor="b">
            <a:no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G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447290"/>
            <a:ext cx="5467643" cy="42132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799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G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43BEC-A1EB-436E-8B64-809EBE4A4804}" type="datetimeFigureOut">
              <a:rPr lang="es-GT" smtClean="0"/>
              <a:pPr/>
              <a:t>7/04/2025</a:t>
            </a:fld>
            <a:endParaRPr lang="es-G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0CE2E-50A3-4522-A193-572B32427206}" type="slidenum">
              <a:rPr lang="es-GT" smtClean="0"/>
              <a:t>‹Nº›</a:t>
            </a:fld>
            <a:endParaRPr lang="es-G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B03B6E-58E5-2142-ACC2-6647612A9F3C}"/>
              </a:ext>
            </a:extLst>
          </p:cNvPr>
          <p:cNvSpPr/>
          <p:nvPr userDrawn="1"/>
        </p:nvSpPr>
        <p:spPr>
          <a:xfrm>
            <a:off x="7420396" y="2023009"/>
            <a:ext cx="3609048" cy="2864580"/>
          </a:xfrm>
          <a:prstGeom prst="rect">
            <a:avLst/>
          </a:prstGeom>
          <a:solidFill>
            <a:srgbClr val="07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75E68-35E4-584E-A278-5BEEFFFFD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6819" y="2072174"/>
            <a:ext cx="4191404" cy="236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4292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4208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8520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1953721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5" y="815315"/>
            <a:ext cx="588469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5" y="1639227"/>
            <a:ext cx="5884695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40" y="815315"/>
            <a:ext cx="591367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9640" y="1639227"/>
            <a:ext cx="5913676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7116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2530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553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4832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077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510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9451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577" y="1144941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577" y="359074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482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560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8BC7-DFD6-984D-A3DB-4DED1F323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0D11BA-08B8-1E48-9858-5F7293D543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80D2A-5324-094E-955D-8E2158FF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B3772F-DC59-474A-A482-341010B58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551CB-D3EB-2843-B0FA-0D16F4ACD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118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8532283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853228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993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490704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52955" y="846489"/>
            <a:ext cx="490704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597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0040405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6" y="815315"/>
            <a:ext cx="494347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6" y="1639227"/>
            <a:ext cx="4943472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92182" y="815315"/>
            <a:ext cx="496781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92182" y="1639227"/>
            <a:ext cx="4967818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95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459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E428-420C-0D46-BABC-E3C77786A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E8901D-A47C-694D-9826-F33B0F824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1ED13-1B30-744F-BF2E-490B808B5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8890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F2128-7A03-6546-80F9-8D688F2D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1BEB51-C4C0-8B49-89DC-42065CCA93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49768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7C7AB3-4701-F349-8A23-27C4499EB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7072F-774C-FE44-AE6D-E83BCFD81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5464C5-43A8-C748-B356-9BB3B95E4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9EF94-EE20-E141-B9E6-F026ED85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2900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6B635-8F87-5D4F-8207-B7D7CFB2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2685-BF37-8A4A-8BBE-4C0B54B5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49768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466408-2F8F-454E-B8C2-8D1303B9C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C34C6F-58B9-2A47-8690-379C2C0E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119B2-24BD-2042-89B1-B8BC61791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8448D6-E881-DE48-B18E-1B3521721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9216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B1C0F-C2D1-A04E-A46E-15B67604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1FEDAF-8CD7-BD4E-83A6-20D0CED0C3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3B8CC-F558-4549-BFE5-287564DDD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D2C06-D6BC-7044-884D-900DD9BB9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C9C6A-2F11-1047-9640-BE143852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4730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8F8EA-F62A-4040-AFCE-E402961B60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14351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D2F5D-A700-3D40-97FB-501FC1080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3CEB25-FB10-814A-A265-89E7037FB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3D6813-7F37-B34D-957F-CBB5F5B39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A138C-F275-594E-A87E-166D966C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6701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C4712C-FC03-474C-804E-3942C04B56AF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5EC0A9-8D67-0E4F-9D12-1207D13593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010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F4814-7C3E-3E43-8047-3D90B26C1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AFD6-30DC-5A42-9F41-77D830AAA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8DE6FF-1535-304E-A2CD-42A9B7AE6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160B5-6716-344B-946A-F123E7609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D86E2-A59C-0640-BFC7-69D111E7F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2515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39" y="936654"/>
            <a:ext cx="4917260" cy="5237569"/>
          </a:xfrm>
        </p:spPr>
        <p:txBody>
          <a:bodyPr/>
          <a:lstStyle>
            <a:lvl1pPr>
              <a:defRPr sz="2801"/>
            </a:lvl1pPr>
            <a:lvl2pPr>
              <a:defRPr sz="2401"/>
            </a:lvl2pPr>
            <a:lvl3pPr>
              <a:defRPr sz="2001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0613" y="936653"/>
            <a:ext cx="4917260" cy="5237569"/>
          </a:xfrm>
        </p:spPr>
        <p:txBody>
          <a:bodyPr/>
          <a:lstStyle>
            <a:lvl1pPr>
              <a:defRPr sz="2801"/>
            </a:lvl1pPr>
            <a:lvl2pPr>
              <a:defRPr sz="2401"/>
            </a:lvl2pPr>
            <a:lvl3pPr>
              <a:defRPr sz="2001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FAC680-3952-BD44-A263-7039780E0873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5D54A3-817C-E346-A487-B7FDF41575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7275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38" y="967372"/>
            <a:ext cx="4965246" cy="639762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337" indent="0">
              <a:buNone/>
              <a:defRPr sz="2001" b="1"/>
            </a:lvl2pPr>
            <a:lvl3pPr marL="914674" indent="0">
              <a:buNone/>
              <a:defRPr sz="1801" b="1"/>
            </a:lvl3pPr>
            <a:lvl4pPr marL="1372011" indent="0">
              <a:buNone/>
              <a:defRPr sz="1600" b="1"/>
            </a:lvl4pPr>
            <a:lvl5pPr marL="1829349" indent="0">
              <a:buNone/>
              <a:defRPr sz="1600" b="1"/>
            </a:lvl5pPr>
            <a:lvl6pPr marL="2286686" indent="0">
              <a:buNone/>
              <a:defRPr sz="1600" b="1"/>
            </a:lvl6pPr>
            <a:lvl7pPr marL="2744023" indent="0">
              <a:buNone/>
              <a:defRPr sz="1600" b="1"/>
            </a:lvl7pPr>
            <a:lvl8pPr marL="3201360" indent="0">
              <a:buNone/>
              <a:defRPr sz="1600" b="1"/>
            </a:lvl8pPr>
            <a:lvl9pPr marL="3658697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38" y="1607134"/>
            <a:ext cx="4965246" cy="4429524"/>
          </a:xfrm>
        </p:spPr>
        <p:txBody>
          <a:bodyPr/>
          <a:lstStyle>
            <a:lvl1pPr>
              <a:defRPr sz="2401"/>
            </a:lvl1pPr>
            <a:lvl2pPr>
              <a:defRPr sz="2001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0676" y="967372"/>
            <a:ext cx="4967197" cy="639762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337" indent="0">
              <a:buNone/>
              <a:defRPr sz="2001" b="1"/>
            </a:lvl2pPr>
            <a:lvl3pPr marL="914674" indent="0">
              <a:buNone/>
              <a:defRPr sz="1801" b="1"/>
            </a:lvl3pPr>
            <a:lvl4pPr marL="1372011" indent="0">
              <a:buNone/>
              <a:defRPr sz="1600" b="1"/>
            </a:lvl4pPr>
            <a:lvl5pPr marL="1829349" indent="0">
              <a:buNone/>
              <a:defRPr sz="1600" b="1"/>
            </a:lvl5pPr>
            <a:lvl6pPr marL="2286686" indent="0">
              <a:buNone/>
              <a:defRPr sz="1600" b="1"/>
            </a:lvl6pPr>
            <a:lvl7pPr marL="2744023" indent="0">
              <a:buNone/>
              <a:defRPr sz="1600" b="1"/>
            </a:lvl7pPr>
            <a:lvl8pPr marL="3201360" indent="0">
              <a:buNone/>
              <a:defRPr sz="1600" b="1"/>
            </a:lvl8pPr>
            <a:lvl9pPr marL="3658697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0676" y="1607134"/>
            <a:ext cx="4967197" cy="4429524"/>
          </a:xfrm>
        </p:spPr>
        <p:txBody>
          <a:bodyPr/>
          <a:lstStyle>
            <a:lvl1pPr>
              <a:defRPr sz="2401"/>
            </a:lvl1pPr>
            <a:lvl2pPr>
              <a:defRPr sz="2001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6E2B3D-1761-B648-A81B-6C413F94E8B3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5AA8715-8AD1-9447-A3A7-83E793026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666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89D784-A8D7-B54C-AB08-DA776822885C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A19687-8453-334B-8C35-9685C33EA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5000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C92296-5997-7446-A45A-70AAFE89C338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2A24ED-D2BE-8344-8246-3E69D87B8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7967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1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5421141" cy="5853113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1"/>
            </a:lvl3pPr>
            <a:lvl4pPr>
              <a:defRPr sz="2001"/>
            </a:lvl4pPr>
            <a:lvl5pPr>
              <a:defRPr sz="2001"/>
            </a:lvl5pPr>
            <a:lvl6pPr>
              <a:defRPr sz="2001"/>
            </a:lvl6pPr>
            <a:lvl7pPr>
              <a:defRPr sz="2001"/>
            </a:lvl7pPr>
            <a:lvl8pPr>
              <a:defRPr sz="2001"/>
            </a:lvl8pPr>
            <a:lvl9pPr>
              <a:defRPr sz="2001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337" indent="0">
              <a:buNone/>
              <a:defRPr sz="1200"/>
            </a:lvl2pPr>
            <a:lvl3pPr marL="914674" indent="0">
              <a:buNone/>
              <a:defRPr sz="1000"/>
            </a:lvl3pPr>
            <a:lvl4pPr marL="1372011" indent="0">
              <a:buNone/>
              <a:defRPr sz="900"/>
            </a:lvl4pPr>
            <a:lvl5pPr marL="1829349" indent="0">
              <a:buNone/>
              <a:defRPr sz="900"/>
            </a:lvl5pPr>
            <a:lvl6pPr marL="2286686" indent="0">
              <a:buNone/>
              <a:defRPr sz="900"/>
            </a:lvl6pPr>
            <a:lvl7pPr marL="2744023" indent="0">
              <a:buNone/>
              <a:defRPr sz="900"/>
            </a:lvl7pPr>
            <a:lvl8pPr marL="3201360" indent="0">
              <a:buNone/>
              <a:defRPr sz="900"/>
            </a:lvl8pPr>
            <a:lvl9pPr marL="3658697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52FA96-7518-AE44-8AC6-0B6E9418FEE7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3C6DE4-B131-6941-9845-6353A866A3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777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1206" y="4777311"/>
            <a:ext cx="7315200" cy="566738"/>
          </a:xfrm>
        </p:spPr>
        <p:txBody>
          <a:bodyPr anchor="b"/>
          <a:lstStyle>
            <a:lvl1pPr algn="l">
              <a:defRPr sz="2001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61206" y="589486"/>
            <a:ext cx="7315200" cy="4114800"/>
          </a:xfrm>
        </p:spPr>
        <p:txBody>
          <a:bodyPr/>
          <a:lstStyle>
            <a:lvl1pPr marL="0" indent="0">
              <a:buNone/>
              <a:defRPr sz="3201"/>
            </a:lvl1pPr>
            <a:lvl2pPr marL="457337" indent="0">
              <a:buNone/>
              <a:defRPr sz="2801"/>
            </a:lvl2pPr>
            <a:lvl3pPr marL="914674" indent="0">
              <a:buNone/>
              <a:defRPr sz="2401"/>
            </a:lvl3pPr>
            <a:lvl4pPr marL="1372011" indent="0">
              <a:buNone/>
              <a:defRPr sz="2001"/>
            </a:lvl4pPr>
            <a:lvl5pPr marL="1829349" indent="0">
              <a:buNone/>
              <a:defRPr sz="2001"/>
            </a:lvl5pPr>
            <a:lvl6pPr marL="2286686" indent="0">
              <a:buNone/>
              <a:defRPr sz="2001"/>
            </a:lvl6pPr>
            <a:lvl7pPr marL="2744023" indent="0">
              <a:buNone/>
              <a:defRPr sz="2001"/>
            </a:lvl7pPr>
            <a:lvl8pPr marL="3201360" indent="0">
              <a:buNone/>
              <a:defRPr sz="2001"/>
            </a:lvl8pPr>
            <a:lvl9pPr marL="3658697" indent="0">
              <a:buNone/>
              <a:defRPr sz="2001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61206" y="534404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337" indent="0">
              <a:buNone/>
              <a:defRPr sz="1200"/>
            </a:lvl2pPr>
            <a:lvl3pPr marL="914674" indent="0">
              <a:buNone/>
              <a:defRPr sz="1000"/>
            </a:lvl3pPr>
            <a:lvl4pPr marL="1372011" indent="0">
              <a:buNone/>
              <a:defRPr sz="900"/>
            </a:lvl4pPr>
            <a:lvl5pPr marL="1829349" indent="0">
              <a:buNone/>
              <a:defRPr sz="900"/>
            </a:lvl5pPr>
            <a:lvl6pPr marL="2286686" indent="0">
              <a:buNone/>
              <a:defRPr sz="900"/>
            </a:lvl6pPr>
            <a:lvl7pPr marL="2744023" indent="0">
              <a:buNone/>
              <a:defRPr sz="900"/>
            </a:lvl7pPr>
            <a:lvl8pPr marL="3201360" indent="0">
              <a:buNone/>
              <a:defRPr sz="900"/>
            </a:lvl8pPr>
            <a:lvl9pPr marL="3658697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037829-F6CC-D941-A36E-756BEA34130A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915BEDE-BDD3-9F48-855B-8E3B0D947C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6269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0E1AAC-4C2D-EB49-9CC2-C958E7DD91C2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7E865-A2E4-FE4E-B231-288A1A2E4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56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1348674" cy="5851525"/>
          </a:xfrm>
        </p:spPr>
        <p:txBody>
          <a:bodyPr vert="eaVert"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4E079D-41B8-3D4A-A54E-1CAA6B536008}"/>
              </a:ext>
            </a:extLst>
          </p:cNvPr>
          <p:cNvSpPr/>
          <p:nvPr userDrawn="1"/>
        </p:nvSpPr>
        <p:spPr>
          <a:xfrm>
            <a:off x="10275983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FC6A2D0-D668-4643-86EB-B4426ABE89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2114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47602-B7C3-A449-9A41-E99DF9CB93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5C7B0C-BBA9-7A43-B23D-32117C1768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5706EC-5899-F341-9BC1-744758C60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836E2-E0B2-544B-86D7-5A33BC02F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C77FA-C511-1345-86AA-245E38E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9671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AE8C25-8CE4-4443-9704-7900652CF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BEB4C-8996-3F40-8379-0857FD480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4B405-E6EF-494D-B089-FCC9B5E3E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D78F0-46F0-A647-9027-CB5DAD154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0802FD-B3D8-5D44-A3EE-E3BCF617F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15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BD928-D641-154E-9388-82BF5B5D6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8DF66-CA78-614A-8F5C-A7FB1E485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9489-258C-8742-A474-D3F1C4DB3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3F9F6-D94A-F74A-98EE-166E032E3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C8ED5-DA41-2247-B07B-576EC1105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1962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9B800-3B5D-854E-8774-63962E42F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85BA7-9F0E-7040-A981-0488B601A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D855C-6155-6C45-BFE1-239424CF5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2A3C1-C0EC-AF4F-9DB2-EF1C24F5E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D5C5B-A2AF-334A-B361-D93F7E224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8239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D145B-6397-3E42-A97C-D12FE6CFD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1DAC7-0568-1F44-B775-31DC5471CE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3606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52C8FD-C718-7942-B58B-AEA90A888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58470"/>
            <a:ext cx="5879125" cy="51290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DA780F-2EE3-7F41-A580-1B21E4668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FDEDB-C0D2-DF40-BC03-D5F5F29D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42628-8687-CA40-8622-E0179FBA4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2865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2CFB8-5A5A-4D46-B158-E8106278D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67053-461C-894F-8862-7497B211B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3069EF-4E38-3442-99D1-437C134D7E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30B40C-B6A5-5744-850D-8F16814FE6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486474-AD84-474A-A666-2579CA92C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77128F-DC63-CA41-91DA-F3A04A0EF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1A46EB-AA52-CF42-B90A-2C2230DCA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034ED8-8BD2-A74B-B3A5-5B945B4B8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984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FCCE9-DDC7-5546-94EE-689E70BCD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7F3D4-5C10-704C-A5B0-43CBA6923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3AA2A-F5D4-DC44-BE56-8CDAB3E05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04CF4C-39FA-D541-A11D-78C901DD5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24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718919-E6FD-C346-88FE-426911563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2E558B-D914-8A49-A439-5C88FBC4B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634061-4D80-0440-825A-D0D12843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5259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2B8C0-74D7-B548-9E5D-63ECAC563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C437FB-C79E-9744-8617-FC41B3490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B5F36-5889-B245-8431-2CE4A484F6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90618-A5E2-0042-BF37-08AEBC220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37C5B3-6901-844C-A07F-D1EE921FE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389E7-28BD-5C49-9AE7-89043C57D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4956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E03B1-DD27-0C47-B1E2-51BA6848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50CD87-6460-E144-9C66-A61E0EA85C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B3C08-63CB-1B4B-9A2F-3EF95563F3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36E5D6-F1BE-BF4E-8788-629107511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3AB5CA-49BE-914E-9D94-5FCB3C60E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230F82-3D82-534C-9968-23A7F39AB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3373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A45F9-CF74-184A-8730-4F4DA59CA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652032-7BC8-ED4D-AFC3-86D7EA9601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053BD-0C9B-0645-B51D-8759547C4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C186D1-4A1C-3E43-BF92-74B10B9B1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2E138-04E8-894B-8CC2-C58AADA83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5372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E2C2D7-581D-8B44-8A2B-5BB1446D5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B15308-91C2-BB4C-B87E-CA39B20A2C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3CE85-40D2-984B-92B5-254C168A4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7AEDE-84BC-6444-9972-2664C0B5D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852E4-EA37-4A4D-87BF-03FBF5DFD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612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30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04E2D-FFC5-E64B-A30E-2A7B5B070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DC443-5D00-2D48-97E4-A4A960E3FB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77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7F29A-4C7F-8241-95B8-CE9C7E9A47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4208" y="846489"/>
            <a:ext cx="5902465" cy="523063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039E57-CC16-BF42-995B-6A58B415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7B7195-F0AD-2747-B195-A8DBA72B4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4EAAC5-3A0D-E843-8015-DB871C01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7167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5771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5689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6987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9480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4220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139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63148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007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5131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03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71E9-BC39-354F-AB4C-406442968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595" y="104776"/>
            <a:ext cx="11953721" cy="6154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183D9-58C9-284E-BAFA-8D9DAD0BD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595" y="815315"/>
            <a:ext cx="588469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1DCDD3-117A-D640-98B0-58BFA2AB6C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95" y="1639227"/>
            <a:ext cx="5884695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59465D-BF01-EE41-9234-2BEF54CC6C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40" y="815315"/>
            <a:ext cx="591367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84A79E-0753-9F4F-8CCC-44DE9CF76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59640" y="1639227"/>
            <a:ext cx="5913676" cy="44378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BD64AD-D189-924B-80B1-79B4D5D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F134F1-8CB3-9E4F-BEF1-F1ECA2EB0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F84A75-DA12-7448-91BC-F43A8059F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07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058F-5A0C-4544-B6AF-BF1AE9591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84AEAF-B5B2-DE49-B3A4-84AC6E949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6C671-A88D-944D-B727-DAC285E02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BB03-0D34-0644-B414-B03628304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092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3.tif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6.tif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8.tiff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image" Target="../media/image9.tiff"/><Relationship Id="rId5" Type="http://schemas.openxmlformats.org/officeDocument/2006/relationships/slideLayout" Target="../slideLayouts/slideLayout53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0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3.tiff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606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22" r:id="rId2"/>
    <p:sldLayoutId id="214748373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7449F4-258D-384D-89DE-7998721FAC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92268" y="5677896"/>
            <a:ext cx="1924406" cy="1090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282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 Blue-01.jpg">
            <a:extLst>
              <a:ext uri="{FF2B5EF4-FFF2-40B4-BE49-F238E27FC236}">
                <a16:creationId xmlns:a16="http://schemas.microsoft.com/office/drawing/2014/main" id="{F08B74BE-7358-D64E-A7E9-1B7676D272F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0DE203-7C45-F94E-99B5-2046697B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06" y="145317"/>
            <a:ext cx="11910647" cy="610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B70B3-DE03-5643-8A0E-F9C5C8CF6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3605" y="832093"/>
            <a:ext cx="11910647" cy="519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E1C46-E8AE-F943-BE37-55F17F62D2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3605" y="63475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D1AEC-923C-BA47-B00F-9882023BB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56467" y="634755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9DF0D-2DF4-914A-B2ED-FC59633A3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40929" y="634755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AEFC33-015C-064D-8522-A1C8ADAD4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27733" y="5737636"/>
            <a:ext cx="1820662" cy="1027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268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38C7A40-FF4C-D64A-B717-FE72F4A6858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599" y="6154132"/>
            <a:ext cx="5408009" cy="65924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1866296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1866296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48439" y="636143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919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5232CFB-2AD2-8442-849D-923337705E12}"/>
              </a:ext>
            </a:extLst>
          </p:cNvPr>
          <p:cNvSpPr/>
          <p:nvPr userDrawn="1"/>
        </p:nvSpPr>
        <p:spPr>
          <a:xfrm>
            <a:off x="10287000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08FE7F-19EF-0D4F-A46C-22DD9960A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377" y="154732"/>
            <a:ext cx="10009623" cy="605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0F8E10-7C76-8E44-AE6D-3714FCFD0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377" y="862672"/>
            <a:ext cx="10009623" cy="5199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CE6AD-C6D4-9543-925F-D51ACE92BA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0377" y="6356349"/>
            <a:ext cx="108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182E1-106D-5C4D-BF98-F0BA58916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5860" y="6356348"/>
            <a:ext cx="76262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0F8D5-4DDD-D74C-B360-D24499D16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9154" y="6357052"/>
            <a:ext cx="10708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0AE188-243E-5044-8D0A-8240C8C063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9899" y="5734755"/>
            <a:ext cx="1747591" cy="98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0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4023A2A-7CAA-E54D-97E1-E2AB755AB2F6}"/>
              </a:ext>
            </a:extLst>
          </p:cNvPr>
          <p:cNvSpPr/>
          <p:nvPr userDrawn="1"/>
        </p:nvSpPr>
        <p:spPr>
          <a:xfrm>
            <a:off x="10287000" y="4590"/>
            <a:ext cx="1905000" cy="6853410"/>
          </a:xfrm>
          <a:prstGeom prst="rect">
            <a:avLst/>
          </a:prstGeom>
          <a:solidFill>
            <a:srgbClr val="00235C"/>
          </a:solidFill>
          <a:ln>
            <a:solidFill>
              <a:srgbClr val="0023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38" y="169442"/>
            <a:ext cx="10023335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38" y="871919"/>
            <a:ext cx="10023335" cy="51323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0D7E83-1469-2548-9B65-1DBAF2A2A4DA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2" y="6356352"/>
            <a:ext cx="145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1645C6-230C-834B-8D65-91B93BCD04A1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FD9A76-A542-6847-B145-CC008A4E53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1422" y="5821823"/>
            <a:ext cx="1719136" cy="97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63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xStyles>
    <p:titleStyle>
      <a:lvl1pPr algn="l" defTabSz="457337" rtl="0" eaLnBrk="1" latinLnBrk="0" hangingPunct="1">
        <a:spcBef>
          <a:spcPct val="0"/>
        </a:spcBef>
        <a:buNone/>
        <a:defRPr sz="4401" b="1" i="0" kern="1200">
          <a:solidFill>
            <a:schemeClr val="tx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343003" indent="-343003" algn="l" defTabSz="457337" rtl="0" eaLnBrk="1" latinLnBrk="0" hangingPunct="1">
        <a:spcBef>
          <a:spcPct val="20000"/>
        </a:spcBef>
        <a:buFont typeface="Arial"/>
        <a:buChar char="•"/>
        <a:defRPr sz="32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1pPr>
      <a:lvl2pPr marL="743173" indent="-285836" algn="l" defTabSz="457337" rtl="0" eaLnBrk="1" latinLnBrk="0" hangingPunct="1">
        <a:spcBef>
          <a:spcPct val="20000"/>
        </a:spcBef>
        <a:buFont typeface="Arial"/>
        <a:buChar char="–"/>
        <a:defRPr sz="28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2pPr>
      <a:lvl3pPr marL="1143343" indent="-228669" algn="l" defTabSz="457337" rtl="0" eaLnBrk="1" latinLnBrk="0" hangingPunct="1">
        <a:spcBef>
          <a:spcPct val="20000"/>
        </a:spcBef>
        <a:buFont typeface="Arial"/>
        <a:buChar char="•"/>
        <a:defRPr sz="24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3pPr>
      <a:lvl4pPr marL="1600680" indent="-228669" algn="l" defTabSz="457337" rtl="0" eaLnBrk="1" latinLnBrk="0" hangingPunct="1">
        <a:spcBef>
          <a:spcPct val="20000"/>
        </a:spcBef>
        <a:buFont typeface="Arial"/>
        <a:buChar char="–"/>
        <a:defRPr sz="20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4pPr>
      <a:lvl5pPr marL="2058017" indent="-228669" algn="l" defTabSz="457337" rtl="0" eaLnBrk="1" latinLnBrk="0" hangingPunct="1">
        <a:spcBef>
          <a:spcPct val="20000"/>
        </a:spcBef>
        <a:buFont typeface="Arial"/>
        <a:buChar char="»"/>
        <a:defRPr sz="2001" b="0" i="0" kern="1200">
          <a:solidFill>
            <a:schemeClr val="tx1"/>
          </a:solidFill>
          <a:latin typeface="Cronos Pro" panose="020C0502030403020304" pitchFamily="34" charset="77"/>
          <a:ea typeface="+mn-ea"/>
          <a:cs typeface="+mn-cs"/>
        </a:defRPr>
      </a:lvl5pPr>
      <a:lvl6pPr marL="2515354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2692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30029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7366" indent="-228669" algn="l" defTabSz="457337" rtl="0" eaLnBrk="1" latinLnBrk="0" hangingPunct="1">
        <a:spcBef>
          <a:spcPct val="20000"/>
        </a:spcBef>
        <a:buFont typeface="Arial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674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1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9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6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3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7" algn="l" defTabSz="457337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 Blue-01.jpg">
            <a:extLst>
              <a:ext uri="{FF2B5EF4-FFF2-40B4-BE49-F238E27FC236}">
                <a16:creationId xmlns:a16="http://schemas.microsoft.com/office/drawing/2014/main" id="{F08B74BE-7358-D64E-A7E9-1B7676D272F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0DE203-7C45-F94E-99B5-2046697B1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06" y="145317"/>
            <a:ext cx="11910647" cy="610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B70B3-DE03-5643-8A0E-F9C5C8CF6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3605" y="832093"/>
            <a:ext cx="11910647" cy="519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E1C46-E8AE-F943-BE37-55F17F62D2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791904-2533-154C-9113-97D17A821E30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D1AEC-923C-BA47-B00F-9882023BB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9DF0D-2DF4-914A-B2ED-FC59633A3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3A225-7633-8D41-990A-91BB83063A9A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1097C0-3A1B-4A48-8D98-68B26562A55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395" y="6128430"/>
            <a:ext cx="682645" cy="48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23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Cronos Pro" panose="020C05020304030203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Cronos Pro" panose="020C05020304030203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84D76-9EBD-0648-A70E-F6AA0A4C9DE4}" type="datetimeFigureOut">
              <a:rPr lang="en-US" smtClean="0"/>
              <a:t>4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04EAE-317B-A24B-AA6E-A97DCDDD1384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98C839-BC76-58BE-0AED-29D8A2E56D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92268" y="5677896"/>
            <a:ext cx="1924406" cy="1090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5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0FDCFC80-715F-12BF-B4B6-80B6165E5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44" y="-277607"/>
            <a:ext cx="11642719" cy="1325563"/>
          </a:xfrm>
        </p:spPr>
        <p:txBody>
          <a:bodyPr>
            <a:normAutofit/>
          </a:bodyPr>
          <a:lstStyle/>
          <a:p>
            <a:r>
              <a:rPr lang="en-US" dirty="0"/>
              <a:t>Proyecto: CRM Médico para </a:t>
            </a:r>
            <a:r>
              <a:rPr lang="en-US" dirty="0" err="1"/>
              <a:t>clínica</a:t>
            </a:r>
            <a:r>
              <a:rPr lang="en-US" dirty="0"/>
              <a:t> </a:t>
            </a:r>
            <a:r>
              <a:rPr lang="en-US" dirty="0" err="1"/>
              <a:t>oftalmológica</a:t>
            </a:r>
            <a:endParaRPr lang="en-US" dirty="0"/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85045A2C-BA2A-4DBC-B5B6-30819DD31D0A}"/>
              </a:ext>
            </a:extLst>
          </p:cNvPr>
          <p:cNvCxnSpPr>
            <a:cxnSpLocks/>
          </p:cNvCxnSpPr>
          <p:nvPr/>
        </p:nvCxnSpPr>
        <p:spPr>
          <a:xfrm>
            <a:off x="4432211" y="957739"/>
            <a:ext cx="5776" cy="255459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92" name="Tabla 91">
            <a:extLst>
              <a:ext uri="{FF2B5EF4-FFF2-40B4-BE49-F238E27FC236}">
                <a16:creationId xmlns:a16="http://schemas.microsoft.com/office/drawing/2014/main" id="{ABD65048-708F-40EE-9542-C2C9E8F5FA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248871"/>
              </p:ext>
            </p:extLst>
          </p:nvPr>
        </p:nvGraphicFramePr>
        <p:xfrm>
          <a:off x="9264759" y="968423"/>
          <a:ext cx="2752998" cy="731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7666">
                  <a:extLst>
                    <a:ext uri="{9D8B030D-6E8A-4147-A177-3AD203B41FA5}">
                      <a16:colId xmlns:a16="http://schemas.microsoft.com/office/drawing/2014/main" val="3764630927"/>
                    </a:ext>
                  </a:extLst>
                </a:gridCol>
                <a:gridCol w="917666">
                  <a:extLst>
                    <a:ext uri="{9D8B030D-6E8A-4147-A177-3AD203B41FA5}">
                      <a16:colId xmlns:a16="http://schemas.microsoft.com/office/drawing/2014/main" val="763318593"/>
                    </a:ext>
                  </a:extLst>
                </a:gridCol>
                <a:gridCol w="917666">
                  <a:extLst>
                    <a:ext uri="{9D8B030D-6E8A-4147-A177-3AD203B41FA5}">
                      <a16:colId xmlns:a16="http://schemas.microsoft.com/office/drawing/2014/main" val="25564223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200" b="1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Inicio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</a:t>
                      </a:r>
                    </a:p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Entrevista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Fecha </a:t>
                      </a:r>
                    </a:p>
                    <a:p>
                      <a:pPr algn="ctr"/>
                      <a:r>
                        <a:rPr lang="es-CO" sz="1200" b="1" dirty="0">
                          <a:solidFill>
                            <a:schemeClr val="bg1"/>
                          </a:solidFill>
                          <a:latin typeface="Cronos Pro" panose="020C0502030403020304" pitchFamily="34" charset="0"/>
                        </a:rPr>
                        <a:t>MVP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698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CO" sz="1200" dirty="0">
                          <a:latin typeface="Cronos Pro" panose="020C0502030403020304" pitchFamily="34" charset="0"/>
                        </a:rPr>
                        <a:t>19/03/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Cronos Pro" panose="020C0502030403020304" pitchFamily="34" charset="0"/>
                        </a:rPr>
                        <a:t>5/04/20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>
                          <a:latin typeface="Cronos Pro" panose="020C0502030403020304" pitchFamily="34" charset="0"/>
                        </a:rPr>
                        <a:t>01/04/202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44780693"/>
                  </a:ext>
                </a:extLst>
              </a:tr>
            </a:tbl>
          </a:graphicData>
        </a:graphic>
      </p:graphicFrame>
      <p:graphicFrame>
        <p:nvGraphicFramePr>
          <p:cNvPr id="109" name="Tabla 108">
            <a:extLst>
              <a:ext uri="{FF2B5EF4-FFF2-40B4-BE49-F238E27FC236}">
                <a16:creationId xmlns:a16="http://schemas.microsoft.com/office/drawing/2014/main" id="{5B8B3FD7-B822-42D8-A8B7-A8718336E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8883296"/>
              </p:ext>
            </p:extLst>
          </p:nvPr>
        </p:nvGraphicFramePr>
        <p:xfrm>
          <a:off x="0" y="680445"/>
          <a:ext cx="12017757" cy="30251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09337">
                  <a:extLst>
                    <a:ext uri="{9D8B030D-6E8A-4147-A177-3AD203B41FA5}">
                      <a16:colId xmlns:a16="http://schemas.microsoft.com/office/drawing/2014/main" val="3432792389"/>
                    </a:ext>
                  </a:extLst>
                </a:gridCol>
                <a:gridCol w="1516277">
                  <a:extLst>
                    <a:ext uri="{9D8B030D-6E8A-4147-A177-3AD203B41FA5}">
                      <a16:colId xmlns:a16="http://schemas.microsoft.com/office/drawing/2014/main" val="685604499"/>
                    </a:ext>
                  </a:extLst>
                </a:gridCol>
                <a:gridCol w="3805840">
                  <a:extLst>
                    <a:ext uri="{9D8B030D-6E8A-4147-A177-3AD203B41FA5}">
                      <a16:colId xmlns:a16="http://schemas.microsoft.com/office/drawing/2014/main" val="1325943356"/>
                    </a:ext>
                  </a:extLst>
                </a:gridCol>
                <a:gridCol w="1530734">
                  <a:extLst>
                    <a:ext uri="{9D8B030D-6E8A-4147-A177-3AD203B41FA5}">
                      <a16:colId xmlns:a16="http://schemas.microsoft.com/office/drawing/2014/main" val="895329024"/>
                    </a:ext>
                  </a:extLst>
                </a:gridCol>
                <a:gridCol w="2755569">
                  <a:extLst>
                    <a:ext uri="{9D8B030D-6E8A-4147-A177-3AD203B41FA5}">
                      <a16:colId xmlns:a16="http://schemas.microsoft.com/office/drawing/2014/main" val="89959479"/>
                    </a:ext>
                  </a:extLst>
                </a:gridCol>
              </a:tblGrid>
              <a:tr h="3025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Product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Owner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: 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Paulina Castejón </a:t>
                      </a:r>
                      <a:endParaRPr lang="es-CO" sz="1200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b="1" dirty="0" err="1">
                          <a:solidFill>
                            <a:schemeClr val="tx1"/>
                          </a:solidFill>
                        </a:rPr>
                        <a:t>Group</a:t>
                      </a: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Grupo 5</a:t>
                      </a:r>
                      <a:endParaRPr lang="es-CO" sz="12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Alcance: </a:t>
                      </a:r>
                      <a:endParaRPr lang="es-CO" sz="14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Sprint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Sprint 1</a:t>
                      </a:r>
                      <a:endParaRPr lang="es-CO" sz="120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>
                          <a:solidFill>
                            <a:schemeClr val="tx1"/>
                          </a:solidFill>
                        </a:rPr>
                        <a:t>Fecha del Informe: </a:t>
                      </a:r>
                      <a:r>
                        <a:rPr lang="es-CO" sz="1200" b="1" dirty="0">
                          <a:solidFill>
                            <a:schemeClr val="accent5"/>
                          </a:solidFill>
                        </a:rPr>
                        <a:t>7 Abr 20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074111"/>
                  </a:ext>
                </a:extLst>
              </a:tr>
            </a:tbl>
          </a:graphicData>
        </a:graphic>
      </p:graphicFrame>
      <p:sp>
        <p:nvSpPr>
          <p:cNvPr id="42" name="McK Measure">
            <a:extLst>
              <a:ext uri="{FF2B5EF4-FFF2-40B4-BE49-F238E27FC236}">
                <a16:creationId xmlns:a16="http://schemas.microsoft.com/office/drawing/2014/main" id="{078F7C1E-F0D5-4AF9-9009-AE61694939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608870" y="994086"/>
            <a:ext cx="106121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10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Releases</a:t>
            </a:r>
            <a:endParaRPr lang="es-CO" sz="10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50" name="McK Measure">
            <a:extLst>
              <a:ext uri="{FF2B5EF4-FFF2-40B4-BE49-F238E27FC236}">
                <a16:creationId xmlns:a16="http://schemas.microsoft.com/office/drawing/2014/main" id="{452BCFAD-E127-4453-B362-44D8BC7A388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742581" y="1419065"/>
            <a:ext cx="844919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8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Esperado: 0/0</a:t>
            </a:r>
          </a:p>
        </p:txBody>
      </p:sp>
      <p:sp>
        <p:nvSpPr>
          <p:cNvPr id="51" name="CuadroTexto 30">
            <a:extLst>
              <a:ext uri="{FF2B5EF4-FFF2-40B4-BE49-F238E27FC236}">
                <a16:creationId xmlns:a16="http://schemas.microsoft.com/office/drawing/2014/main" id="{2F8C8377-26D6-4E67-B3D5-77311A2E9C97}"/>
              </a:ext>
            </a:extLst>
          </p:cNvPr>
          <p:cNvSpPr txBox="1"/>
          <p:nvPr/>
        </p:nvSpPr>
        <p:spPr>
          <a:xfrm>
            <a:off x="4451045" y="976134"/>
            <a:ext cx="13292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Velocity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AVG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Speed</a:t>
            </a:r>
            <a:endParaRPr lang="es-CO" sz="11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grpSp>
        <p:nvGrpSpPr>
          <p:cNvPr id="52" name="Grupo 32">
            <a:extLst>
              <a:ext uri="{FF2B5EF4-FFF2-40B4-BE49-F238E27FC236}">
                <a16:creationId xmlns:a16="http://schemas.microsoft.com/office/drawing/2014/main" id="{23B91CB9-1587-4239-A6F8-B07127D7AB39}"/>
              </a:ext>
            </a:extLst>
          </p:cNvPr>
          <p:cNvGrpSpPr/>
          <p:nvPr/>
        </p:nvGrpSpPr>
        <p:grpSpPr>
          <a:xfrm>
            <a:off x="7665966" y="1117781"/>
            <a:ext cx="1539676" cy="726873"/>
            <a:chOff x="6890928" y="1120795"/>
            <a:chExt cx="1434570" cy="726873"/>
          </a:xfrm>
        </p:grpSpPr>
        <p:sp>
          <p:nvSpPr>
            <p:cNvPr id="54" name="Título 1">
              <a:extLst>
                <a:ext uri="{FF2B5EF4-FFF2-40B4-BE49-F238E27FC236}">
                  <a16:creationId xmlns:a16="http://schemas.microsoft.com/office/drawing/2014/main" id="{1639D445-C279-4708-B0BB-93AAFA0700C9}"/>
                </a:ext>
              </a:extLst>
            </p:cNvPr>
            <p:cNvSpPr txBox="1">
              <a:spLocks/>
            </p:cNvSpPr>
            <p:nvPr/>
          </p:nvSpPr>
          <p:spPr>
            <a:xfrm>
              <a:off x="6890928" y="1120795"/>
              <a:ext cx="1249920" cy="398507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s-CO" sz="1100" spc="-100" dirty="0">
                  <a:latin typeface="Cronos Pro" panose="020C0502030403020304" pitchFamily="34" charset="0"/>
                </a:rPr>
                <a:t>Fecha  Retrospectiva:  </a:t>
              </a:r>
              <a:r>
                <a:rPr lang="es-CO" sz="1100" spc="-100" dirty="0">
                  <a:solidFill>
                    <a:schemeClr val="accent5"/>
                  </a:solidFill>
                  <a:latin typeface="Cronos Pro" panose="020C0502030403020304" pitchFamily="34" charset="0"/>
                </a:rPr>
                <a:t>XX/XX/XXXX</a:t>
              </a:r>
            </a:p>
          </p:txBody>
        </p:sp>
        <p:sp>
          <p:nvSpPr>
            <p:cNvPr id="55" name="Título 1">
              <a:extLst>
                <a:ext uri="{FF2B5EF4-FFF2-40B4-BE49-F238E27FC236}">
                  <a16:creationId xmlns:a16="http://schemas.microsoft.com/office/drawing/2014/main" id="{5747127E-A24F-4DF7-94E5-C759F09F976F}"/>
                </a:ext>
              </a:extLst>
            </p:cNvPr>
            <p:cNvSpPr txBox="1">
              <a:spLocks/>
            </p:cNvSpPr>
            <p:nvPr/>
          </p:nvSpPr>
          <p:spPr>
            <a:xfrm>
              <a:off x="7799632" y="1602986"/>
              <a:ext cx="525866" cy="244682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endParaRPr lang="es-CO" sz="1100">
                <a:latin typeface="Cronos Pro" panose="020C0502030403020304" pitchFamily="34" charset="0"/>
              </a:endParaRPr>
            </a:p>
          </p:txBody>
        </p:sp>
      </p:grpSp>
      <p:sp>
        <p:nvSpPr>
          <p:cNvPr id="56" name="McK Measure">
            <a:extLst>
              <a:ext uri="{FF2B5EF4-FFF2-40B4-BE49-F238E27FC236}">
                <a16:creationId xmlns:a16="http://schemas.microsoft.com/office/drawing/2014/main" id="{B12859CF-27F5-4C0A-8011-F809510848C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28934" y="1424857"/>
            <a:ext cx="97935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797936"/>
            <a:r>
              <a:rPr lang="es-CO" sz="9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Actual:  60Pts</a:t>
            </a:r>
          </a:p>
        </p:txBody>
      </p:sp>
      <p:cxnSp>
        <p:nvCxnSpPr>
          <p:cNvPr id="59" name="Conector recto 42">
            <a:extLst>
              <a:ext uri="{FF2B5EF4-FFF2-40B4-BE49-F238E27FC236}">
                <a16:creationId xmlns:a16="http://schemas.microsoft.com/office/drawing/2014/main" id="{DE6651CE-BB91-4739-B7CF-CF64B7419EA6}"/>
              </a:ext>
            </a:extLst>
          </p:cNvPr>
          <p:cNvCxnSpPr>
            <a:cxnSpLocks/>
          </p:cNvCxnSpPr>
          <p:nvPr/>
        </p:nvCxnSpPr>
        <p:spPr>
          <a:xfrm>
            <a:off x="17217" y="1658242"/>
            <a:ext cx="12271022" cy="19083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Conector recto 47">
            <a:extLst>
              <a:ext uri="{FF2B5EF4-FFF2-40B4-BE49-F238E27FC236}">
                <a16:creationId xmlns:a16="http://schemas.microsoft.com/office/drawing/2014/main" id="{113A7CDB-0122-40C2-B2C4-BFC3B1A23835}"/>
              </a:ext>
            </a:extLst>
          </p:cNvPr>
          <p:cNvCxnSpPr>
            <a:cxnSpLocks/>
          </p:cNvCxnSpPr>
          <p:nvPr/>
        </p:nvCxnSpPr>
        <p:spPr>
          <a:xfrm>
            <a:off x="0" y="3486441"/>
            <a:ext cx="12271022" cy="0"/>
          </a:xfrm>
          <a:prstGeom prst="line">
            <a:avLst/>
          </a:prstGeom>
          <a:ln w="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5" name="Conector recto 45">
            <a:extLst>
              <a:ext uri="{FF2B5EF4-FFF2-40B4-BE49-F238E27FC236}">
                <a16:creationId xmlns:a16="http://schemas.microsoft.com/office/drawing/2014/main" id="{72084998-0800-49AF-BA3E-4FD642F7EEC5}"/>
              </a:ext>
            </a:extLst>
          </p:cNvPr>
          <p:cNvCxnSpPr>
            <a:cxnSpLocks/>
          </p:cNvCxnSpPr>
          <p:nvPr/>
        </p:nvCxnSpPr>
        <p:spPr>
          <a:xfrm>
            <a:off x="8813957" y="1692345"/>
            <a:ext cx="0" cy="1749673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0" name="Rectángulo 43">
            <a:extLst>
              <a:ext uri="{FF2B5EF4-FFF2-40B4-BE49-F238E27FC236}">
                <a16:creationId xmlns:a16="http://schemas.microsoft.com/office/drawing/2014/main" id="{DB7E7481-E1F4-42E8-B842-D8F17712738B}"/>
              </a:ext>
            </a:extLst>
          </p:cNvPr>
          <p:cNvSpPr/>
          <p:nvPr/>
        </p:nvSpPr>
        <p:spPr>
          <a:xfrm>
            <a:off x="-72500" y="1670199"/>
            <a:ext cx="4437987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rincipales actividades/logro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GT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Establecer entorno de desarrollo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Establecer estructura del proyecto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GT" sz="1100" b="0" i="0" dirty="0">
                <a:solidFill>
                  <a:schemeClr val="accent1">
                    <a:lumMod val="50000"/>
                  </a:schemeClr>
                </a:solidFill>
                <a:effectLst/>
                <a:latin typeface="Cronos Pro" panose="020C0502030403020304" pitchFamily="34" charset="0"/>
                <a:cs typeface="Arial" pitchFamily="34" charset="0"/>
              </a:rPr>
              <a:t>Impl</a:t>
            </a: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ementar pantalla de </a:t>
            </a:r>
            <a:r>
              <a:rPr lang="es-GT" sz="1100" dirty="0" err="1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login</a:t>
            </a: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Comprobación de persistencia de datos</a:t>
            </a:r>
          </a:p>
        </p:txBody>
      </p:sp>
      <p:sp>
        <p:nvSpPr>
          <p:cNvPr id="71" name="Rectángulo 81">
            <a:extLst>
              <a:ext uri="{FF2B5EF4-FFF2-40B4-BE49-F238E27FC236}">
                <a16:creationId xmlns:a16="http://schemas.microsoft.com/office/drawing/2014/main" id="{07833044-696D-44F7-9286-92825C559C24}"/>
              </a:ext>
            </a:extLst>
          </p:cNvPr>
          <p:cNvSpPr/>
          <p:nvPr/>
        </p:nvSpPr>
        <p:spPr>
          <a:xfrm>
            <a:off x="4422894" y="1677563"/>
            <a:ext cx="44379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Nuevas </a:t>
            </a:r>
            <a:r>
              <a:rPr lang="es-CO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Features</a:t>
            </a:r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/Funciones Esperada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antalla de </a:t>
            </a:r>
            <a:r>
              <a:rPr lang="es-GT" sz="1200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login</a:t>
            </a:r>
            <a:endParaRPr lang="es-GT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r>
              <a:rPr lang="es-GT" sz="12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ersistencia de datos para historiales/cuestionarios médicos</a:t>
            </a: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endParaRPr lang="es-GT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marL="171450" indent="-171450" algn="just">
              <a:buClr>
                <a:srgbClr val="00B0F0"/>
              </a:buClr>
              <a:buFont typeface="Cronos Pro" panose="020C0502030403020304" pitchFamily="34" charset="0"/>
              <a:buChar char="›"/>
              <a:tabLst>
                <a:tab pos="161285" algn="l"/>
              </a:tabLst>
            </a:pPr>
            <a:endParaRPr lang="es-CO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72" name="Rectángulo 4">
            <a:extLst>
              <a:ext uri="{FF2B5EF4-FFF2-40B4-BE49-F238E27FC236}">
                <a16:creationId xmlns:a16="http://schemas.microsoft.com/office/drawing/2014/main" id="{CAF2DD3A-BD25-4E94-9EA2-11BE7F3870D0}"/>
              </a:ext>
            </a:extLst>
          </p:cNvPr>
          <p:cNvSpPr/>
          <p:nvPr/>
        </p:nvSpPr>
        <p:spPr>
          <a:xfrm>
            <a:off x="8879746" y="1695426"/>
            <a:ext cx="331225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6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Alertas</a:t>
            </a:r>
          </a:p>
          <a:p>
            <a:pPr algn="just"/>
            <a:r>
              <a:rPr lang="es-GT" sz="1100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Optimización del entorno de desarrollo por tiempos de compilación</a:t>
            </a:r>
          </a:p>
          <a:p>
            <a:pPr algn="just"/>
            <a:r>
              <a:rPr lang="es-GT" sz="1400" b="1" dirty="0" err="1">
                <a:solidFill>
                  <a:schemeClr val="tx2"/>
                </a:solidFill>
                <a:latin typeface="Cronos Pro" panose="020C0502030403020304" pitchFamily="34" charset="0"/>
                <a:cs typeface="Arial" pitchFamily="34" charset="0"/>
              </a:rPr>
              <a:t>Stopper</a:t>
            </a:r>
            <a:r>
              <a:rPr lang="es-GT" sz="1400" b="1" dirty="0">
                <a:solidFill>
                  <a:schemeClr val="tx2"/>
                </a:solidFill>
                <a:latin typeface="Cronos Pro" panose="020C0502030403020304" pitchFamily="34" charset="0"/>
                <a:cs typeface="Arial" pitchFamily="34" charset="0"/>
              </a:rPr>
              <a:t> Issues:</a:t>
            </a:r>
          </a:p>
          <a:p>
            <a:pPr algn="just"/>
            <a:endParaRPr lang="es-CO" sz="1200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E9CF73-A204-4739-BB78-0C99AB03DA3D}"/>
              </a:ext>
            </a:extLst>
          </p:cNvPr>
          <p:cNvSpPr/>
          <p:nvPr/>
        </p:nvSpPr>
        <p:spPr>
          <a:xfrm>
            <a:off x="4793751" y="1121087"/>
            <a:ext cx="709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rgbClr val="00B050"/>
                </a:solidFill>
                <a:latin typeface="Cronos Pro" panose="020C0502030403020304" pitchFamily="34" charset="0"/>
                <a:cs typeface="Arial" pitchFamily="34" charset="0"/>
              </a:rPr>
              <a:t>50P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453DAFA-994B-48A9-81BA-19EB6FE64676}"/>
              </a:ext>
            </a:extLst>
          </p:cNvPr>
          <p:cNvSpPr/>
          <p:nvPr/>
        </p:nvSpPr>
        <p:spPr>
          <a:xfrm>
            <a:off x="5849492" y="1139345"/>
            <a:ext cx="6992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rgbClr val="00B050"/>
                </a:solidFill>
                <a:latin typeface="Cronos Pro" panose="020C0502030403020304" pitchFamily="34" charset="0"/>
                <a:cs typeface="Arial" pitchFamily="34" charset="0"/>
              </a:rPr>
              <a:t>10.00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77690A5-AC03-4D2A-B08C-48955D4CA5B0}"/>
              </a:ext>
            </a:extLst>
          </p:cNvPr>
          <p:cNvSpPr/>
          <p:nvPr/>
        </p:nvSpPr>
        <p:spPr>
          <a:xfrm>
            <a:off x="6880435" y="1131156"/>
            <a:ext cx="5180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0/0</a:t>
            </a:r>
            <a:endParaRPr lang="es-CO" sz="1100" b="1" dirty="0">
              <a:solidFill>
                <a:schemeClr val="tx1">
                  <a:lumMod val="50000"/>
                  <a:lumOff val="50000"/>
                </a:schemeClr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6" name="CuadroTexto 30">
            <a:extLst>
              <a:ext uri="{FF2B5EF4-FFF2-40B4-BE49-F238E27FC236}">
                <a16:creationId xmlns:a16="http://schemas.microsoft.com/office/drawing/2014/main" id="{02965A03-8242-8999-7913-30997207D91B}"/>
              </a:ext>
            </a:extLst>
          </p:cNvPr>
          <p:cNvSpPr txBox="1"/>
          <p:nvPr/>
        </p:nvSpPr>
        <p:spPr>
          <a:xfrm>
            <a:off x="5656971" y="971286"/>
            <a:ext cx="11769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Users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Stories</a:t>
            </a:r>
            <a:r>
              <a:rPr lang="es-CO" sz="1100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 </a:t>
            </a:r>
            <a:r>
              <a:rPr lang="es-CO" sz="1100" b="1" dirty="0" err="1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Pnd</a:t>
            </a:r>
            <a:endParaRPr lang="es-CO" sz="1100" b="1" dirty="0">
              <a:solidFill>
                <a:srgbClr val="002060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8" name="Rectángulo 43">
            <a:extLst>
              <a:ext uri="{FF2B5EF4-FFF2-40B4-BE49-F238E27FC236}">
                <a16:creationId xmlns:a16="http://schemas.microsoft.com/office/drawing/2014/main" id="{C5C73BAE-153F-48D6-9386-F00682572F74}"/>
              </a:ext>
            </a:extLst>
          </p:cNvPr>
          <p:cNvSpPr/>
          <p:nvPr/>
        </p:nvSpPr>
        <p:spPr>
          <a:xfrm>
            <a:off x="26653" y="980784"/>
            <a:ext cx="4437987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rgbClr val="002060"/>
                </a:solidFill>
                <a:latin typeface="Cronos Pro" panose="020C0502030403020304" pitchFamily="34" charset="0"/>
                <a:cs typeface="Arial" pitchFamily="34" charset="0"/>
              </a:rPr>
              <a:t>Objetivo Spri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GT" sz="1100" dirty="0">
                <a:solidFill>
                  <a:schemeClr val="accent1">
                    <a:lumMod val="50000"/>
                  </a:schemeClr>
                </a:solidFill>
                <a:latin typeface="Cronos Pro" panose="020C0502030403020304" pitchFamily="34" charset="0"/>
                <a:cs typeface="Arial" pitchFamily="34" charset="0"/>
              </a:rPr>
              <a:t>Establecer entorno de desarrollo</a:t>
            </a:r>
            <a:endParaRPr lang="es-GT" sz="1100" b="0" i="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" name="Rectángulo 81">
            <a:extLst>
              <a:ext uri="{FF2B5EF4-FFF2-40B4-BE49-F238E27FC236}">
                <a16:creationId xmlns:a16="http://schemas.microsoft.com/office/drawing/2014/main" id="{A80D23EC-6FE9-3E83-4D6C-10AD0285F1A7}"/>
              </a:ext>
            </a:extLst>
          </p:cNvPr>
          <p:cNvSpPr/>
          <p:nvPr/>
        </p:nvSpPr>
        <p:spPr>
          <a:xfrm>
            <a:off x="6199107" y="3653770"/>
            <a:ext cx="4877339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Lecciones Aprendidas</a:t>
            </a:r>
          </a:p>
          <a:p>
            <a:pPr algn="just"/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-</a:t>
            </a: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Documentar procesos técnicos (</a:t>
            </a:r>
            <a:r>
              <a:rPr lang="es-MX" b="1" dirty="0" err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ej</a:t>
            </a: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: configuración de Docker) reduce dependencias individuales.</a:t>
            </a:r>
            <a:endParaRPr lang="es-CO" b="1" dirty="0">
              <a:solidFill>
                <a:schemeClr val="accent1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algn="just"/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-</a:t>
            </a: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Priorizar pruebas de integración tempranas para detectar conflictos.</a:t>
            </a:r>
            <a:endParaRPr lang="es-CO" b="1" dirty="0">
              <a:solidFill>
                <a:schemeClr val="accent1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algn="just"/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-</a:t>
            </a:r>
            <a:r>
              <a:rPr lang="es-MX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Flexibilidad en redistribución de tareas es clave ante imprevistos.</a:t>
            </a:r>
          </a:p>
          <a:p>
            <a:pPr algn="just"/>
            <a:endParaRPr lang="es-CO" b="1" dirty="0">
              <a:solidFill>
                <a:schemeClr val="accent1"/>
              </a:solidFill>
              <a:latin typeface="Cronos Pro" panose="020C0502030403020304" pitchFamily="34" charset="0"/>
              <a:cs typeface="Arial" pitchFamily="34" charset="0"/>
            </a:endParaRPr>
          </a:p>
          <a:p>
            <a:pPr algn="just"/>
            <a:endParaRPr lang="es-CO" b="1" dirty="0">
              <a:solidFill>
                <a:schemeClr val="accent1"/>
              </a:solidFill>
              <a:latin typeface="Cronos Pro" panose="020C0502030403020304" pitchFamily="34" charset="0"/>
              <a:cs typeface="Arial" pitchFamily="34" charset="0"/>
            </a:endParaRPr>
          </a:p>
        </p:txBody>
      </p:sp>
      <p:sp>
        <p:nvSpPr>
          <p:cNvPr id="10" name="Rectángulo 81">
            <a:extLst>
              <a:ext uri="{FF2B5EF4-FFF2-40B4-BE49-F238E27FC236}">
                <a16:creationId xmlns:a16="http://schemas.microsoft.com/office/drawing/2014/main" id="{397EFFA7-3E8B-F648-89F8-C0994F5D07FB}"/>
              </a:ext>
            </a:extLst>
          </p:cNvPr>
          <p:cNvSpPr/>
          <p:nvPr/>
        </p:nvSpPr>
        <p:spPr>
          <a:xfrm>
            <a:off x="124324" y="3522630"/>
            <a:ext cx="4877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b="1" dirty="0" err="1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BurnDown</a:t>
            </a:r>
            <a:r>
              <a:rPr lang="es-CO" b="1" dirty="0">
                <a:solidFill>
                  <a:schemeClr val="accent1"/>
                </a:solidFill>
                <a:latin typeface="Cronos Pro" panose="020C0502030403020304" pitchFamily="34" charset="0"/>
                <a:cs typeface="Arial" pitchFamily="34" charset="0"/>
              </a:rPr>
              <a:t> Char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20CD472-1298-F2FB-E769-0AFD79474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09" y="3864237"/>
            <a:ext cx="4877339" cy="299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7607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JD.X2F7zEy3AjDZeIgXWA"/>
</p:tagLst>
</file>

<file path=ppt/theme/theme1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0BA114A05866D4097DB9D9FA54A6C33" ma:contentTypeVersion="6" ma:contentTypeDescription="Crear nuevo documento." ma:contentTypeScope="" ma:versionID="dac6527dd80281d2b4063cc8dc59d0d4">
  <xsd:schema xmlns:xsd="http://www.w3.org/2001/XMLSchema" xmlns:xs="http://www.w3.org/2001/XMLSchema" xmlns:p="http://schemas.microsoft.com/office/2006/metadata/properties" xmlns:ns2="d53506b5-5843-4b98-8c99-2d2339503bbc" xmlns:ns3="adad3c38-ec27-4acb-a930-ec36b5f3dc90" targetNamespace="http://schemas.microsoft.com/office/2006/metadata/properties" ma:root="true" ma:fieldsID="ecf8a1772df2399499728b15fec13fa5" ns2:_="" ns3:_="">
    <xsd:import namespace="d53506b5-5843-4b98-8c99-2d2339503bbc"/>
    <xsd:import namespace="adad3c38-ec27-4acb-a930-ec36b5f3dc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3506b5-5843-4b98-8c99-2d2339503b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ad3c38-ec27-4acb-a930-ec36b5f3dc9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dad3c38-ec27-4acb-a930-ec36b5f3dc90">
      <UserInfo>
        <DisplayName>Luis Santiago Portillo Torres</DisplayName>
        <AccountId>1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F2AF69D-96D1-48A0-8FC1-147DD66BB4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3506b5-5843-4b98-8c99-2d2339503bbc"/>
    <ds:schemaRef ds:uri="adad3c38-ec27-4acb-a930-ec36b5f3dc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EE8CDE-DE92-45C8-AE2E-CA9671568B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BF3111-C015-4B5C-B20C-929C6D760C99}">
  <ds:schemaRefs>
    <ds:schemaRef ds:uri="http://schemas.microsoft.com/office/2006/metadata/properties"/>
    <ds:schemaRef ds:uri="http://schemas.microsoft.com/office/infopath/2007/PartnerControls"/>
    <ds:schemaRef ds:uri="adad3c38-ec27-4acb-a930-ec36b5f3dc9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98</TotalTime>
  <Words>159</Words>
  <Application>Microsoft Office PowerPoint</Application>
  <PresentationFormat>Panorámica</PresentationFormat>
  <Paragraphs>42</Paragraphs>
  <Slides>1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8</vt:i4>
      </vt:variant>
      <vt:variant>
        <vt:lpstr>Títulos de diapositiva</vt:lpstr>
      </vt:variant>
      <vt:variant>
        <vt:i4>1</vt:i4>
      </vt:variant>
    </vt:vector>
  </HeadingPairs>
  <TitlesOfParts>
    <vt:vector size="14" baseType="lpstr">
      <vt:lpstr>Calibri</vt:lpstr>
      <vt:lpstr>Cronos Pro</vt:lpstr>
      <vt:lpstr>Helvetica Light</vt:lpstr>
      <vt:lpstr>Calibri Light</vt:lpstr>
      <vt:lpstr>Arial</vt:lpstr>
      <vt:lpstr>6_Custom Design</vt:lpstr>
      <vt:lpstr>3_Custom Design</vt:lpstr>
      <vt:lpstr>4_Custom Design</vt:lpstr>
      <vt:lpstr>Custom Design</vt:lpstr>
      <vt:lpstr>5_Custom Design</vt:lpstr>
      <vt:lpstr>1_Office Theme</vt:lpstr>
      <vt:lpstr>2_Custom Design</vt:lpstr>
      <vt:lpstr>Office 2013 - 2022 Theme</vt:lpstr>
      <vt:lpstr>Proyecto: CRM Médico para clínica oftalmológica</vt:lpstr>
    </vt:vector>
  </TitlesOfParts>
  <Company>Tig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ge Antonio Anleu Ruiz</dc:creator>
  <cp:lastModifiedBy>ESPANA PACHECO, JAVIER EDUARDO</cp:lastModifiedBy>
  <cp:revision>237</cp:revision>
  <dcterms:created xsi:type="dcterms:W3CDTF">2017-10-03T18:28:06Z</dcterms:created>
  <dcterms:modified xsi:type="dcterms:W3CDTF">2025-04-08T00:1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BA114A05866D4097DB9D9FA54A6C33</vt:lpwstr>
  </property>
</Properties>
</file>